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3A12224-2883-4632-83B2-ED9069300773}">
          <p14:sldIdLst>
            <p14:sldId id="2147475173"/>
            <p14:sldId id="2147475174"/>
            <p14:sldId id="2147475175"/>
            <p14:sldId id="2147475176"/>
            <p14:sldId id="2147475177"/>
            <p14:sldId id="2147475178"/>
          </p14:sldIdLst>
        </p14:section>
        <p14:section name="Brackets By Retailer By Sector" id="{7C2EBFA9-6F2E-473E-9337-9F1C4316AA4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3425758-6BE9-4DFD-8A9B-548E4CE77E16}">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9812717608735983E-3</c:v>
                </c:pt>
                <c:pt idx="4">
                  <c:v>7.5990963650850868E-3</c:v>
                </c:pt>
                <c:pt idx="5">
                  <c:v>3.5924220732757128E-3</c:v>
                </c:pt>
                <c:pt idx="6">
                  <c:v>3.2777212980458176E-3</c:v>
                </c:pt>
                <c:pt idx="7">
                  <c:v>4.1556947684890846E-3</c:v>
                </c:pt>
                <c:pt idx="8">
                  <c:v>1.8617436727184685E-3</c:v>
                </c:pt>
                <c:pt idx="9">
                  <c:v>1.44107030244945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015941668175954E-2</c:v>
                </c:pt>
                <c:pt idx="4">
                  <c:v>3.9081359199743898E-2</c:v>
                </c:pt>
                <c:pt idx="5">
                  <c:v>4.124769773083601E-2</c:v>
                </c:pt>
                <c:pt idx="6">
                  <c:v>2.2447565871506092E-2</c:v>
                </c:pt>
                <c:pt idx="7">
                  <c:v>7.0072880077931637E-2</c:v>
                </c:pt>
                <c:pt idx="8">
                  <c:v>1.775360760129362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7302200976453883E-2</c:v>
                </c:pt>
                <c:pt idx="4">
                  <c:v>7.3258272750350337E-2</c:v>
                </c:pt>
                <c:pt idx="5">
                  <c:v>3.46323593536196E-2</c:v>
                </c:pt>
                <c:pt idx="6">
                  <c:v>3.1598520312906206E-2</c:v>
                </c:pt>
                <c:pt idx="7">
                  <c:v>4.0062529304925924E-2</c:v>
                </c:pt>
                <c:pt idx="8">
                  <c:v>1.7947940020065979E-2</c:v>
                </c:pt>
                <c:pt idx="9">
                  <c:v>1.38924835529559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5.1773591156684183E-4</c:v>
                </c:pt>
                <c:pt idx="3">
                  <c:v>4.2197794963857319E-3</c:v>
                </c:pt>
                <c:pt idx="4">
                  <c:v>4.8353028371337873E-3</c:v>
                </c:pt>
                <c:pt idx="6">
                  <c:v>5.3313528979945268E-4</c:v>
                </c:pt>
                <c:pt idx="7">
                  <c:v>5.219166085982927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2079563115113294E-3</c:v>
                </c:pt>
                <c:pt idx="7">
                  <c:v>3.8935850347138583E-3</c:v>
                </c:pt>
                <c:pt idx="8">
                  <c:v>7.0470442762083163E-3</c:v>
                </c:pt>
                <c:pt idx="9">
                  <c:v>6.9201372213040474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6642986528543759E-3</c:v>
                </c:pt>
                <c:pt idx="6">
                  <c:v>3.0894232753136022E-3</c:v>
                </c:pt>
                <c:pt idx="7">
                  <c:v>6.4601847886509864E-3</c:v>
                </c:pt>
                <c:pt idx="8">
                  <c:v>8.665698137942348E-3</c:v>
                </c:pt>
                <c:pt idx="9">
                  <c:v>1.088078530865875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2170493068351062E-4</c:v>
                </c:pt>
                <c:pt idx="5">
                  <c:v>1.8259420805160052E-2</c:v>
                </c:pt>
                <c:pt idx="7">
                  <c:v>3.0104786330746026E-2</c:v>
                </c:pt>
                <c:pt idx="8">
                  <c:v>3.7905927276970515E-2</c:v>
                </c:pt>
                <c:pt idx="9">
                  <c:v>6.090257762518759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882278192255596E-3</c:v>
                </c:pt>
                <c:pt idx="6">
                  <c:v>1.6922679704348721E-2</c:v>
                </c:pt>
                <c:pt idx="7">
                  <c:v>3.958883722423117E-2</c:v>
                </c:pt>
                <c:pt idx="8">
                  <c:v>3.4473442719874167E-2</c:v>
                </c:pt>
                <c:pt idx="9">
                  <c:v>8.5525735974126566E-3</c:v>
                </c:pt>
                <c:pt idx="10">
                  <c:v>7.291619394932137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9633952320199126E-2</c:v>
                </c:pt>
                <c:pt idx="6">
                  <c:v>4.0727793538384736E-3</c:v>
                </c:pt>
                <c:pt idx="7">
                  <c:v>2.1331009909460848E-2</c:v>
                </c:pt>
                <c:pt idx="8">
                  <c:v>6.9943960132259828E-2</c:v>
                </c:pt>
                <c:pt idx="9">
                  <c:v>9.433384860628181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2318220897836638E-3</c:v>
                </c:pt>
                <c:pt idx="8">
                  <c:v>9.263767218961769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4.1558243033905503E-3</c:v>
                </c:pt>
                <c:pt idx="8">
                  <c:v>1.198829569456491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9024634580469674E-3</c:v>
                </c:pt>
                <c:pt idx="8">
                  <c:v>1.168717333725087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2027942604307969E-3</c:v>
                </c:pt>
                <c:pt idx="7">
                  <c:v>2.2802319402008037E-3</c:v>
                </c:pt>
                <c:pt idx="8">
                  <c:v>6.739216948338604E-3</c:v>
                </c:pt>
                <c:pt idx="9">
                  <c:v>6.6873521730281631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56035532144489E-3</c:v>
                </c:pt>
                <c:pt idx="3">
                  <c:v>6.0887819065110643E-4</c:v>
                </c:pt>
                <c:pt idx="4">
                  <c:v>8.8396267446032761E-4</c:v>
                </c:pt>
                <c:pt idx="5">
                  <c:v>2.3581416552697111E-3</c:v>
                </c:pt>
                <c:pt idx="7">
                  <c:v>5.7352723867027519E-3</c:v>
                </c:pt>
                <c:pt idx="8">
                  <c:v>6.141319047612245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6167359067666416E-3</c:v>
                </c:pt>
                <c:pt idx="3">
                  <c:v>7.2059097213102825E-4</c:v>
                </c:pt>
                <c:pt idx="4">
                  <c:v>1.0461460645121131E-3</c:v>
                </c:pt>
                <c:pt idx="5">
                  <c:v>2.7907972627108997E-3</c:v>
                </c:pt>
                <c:pt idx="7">
                  <c:v>6.787540706871052E-3</c:v>
                </c:pt>
                <c:pt idx="8">
                  <c:v>7.26808601561736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095719852915143E-3</c:v>
                </c:pt>
                <c:pt idx="2">
                  <c:v>9.0730612643049235E-4</c:v>
                </c:pt>
                <c:pt idx="5">
                  <c:v>5.9222481512996869E-3</c:v>
                </c:pt>
                <c:pt idx="6">
                  <c:v>8.709509477839196E-4</c:v>
                </c:pt>
                <c:pt idx="7">
                  <c:v>7.4542456259210493E-3</c:v>
                </c:pt>
                <c:pt idx="8">
                  <c:v>7.907698393118521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4049723540980869E-3</c:v>
                </c:pt>
                <c:pt idx="4">
                  <c:v>4.1248402298920406E-3</c:v>
                </c:pt>
                <c:pt idx="5">
                  <c:v>4.3534863288913952E-3</c:v>
                </c:pt>
                <c:pt idx="6">
                  <c:v>2.3692272906042297E-3</c:v>
                </c:pt>
                <c:pt idx="7">
                  <c:v>7.3958388522921961E-3</c:v>
                </c:pt>
                <c:pt idx="8">
                  <c:v>1.873803684392148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3350570736685104E-3</c:v>
                </c:pt>
                <c:pt idx="4">
                  <c:v>7.9841907685930073E-3</c:v>
                </c:pt>
                <c:pt idx="5">
                  <c:v>3.7744728815551137E-3</c:v>
                </c:pt>
                <c:pt idx="6">
                  <c:v>3.4438242223271344E-3</c:v>
                </c:pt>
                <c:pt idx="7">
                  <c:v>4.3662901763043098E-3</c:v>
                </c:pt>
                <c:pt idx="8">
                  <c:v>1.9560900311123767E-3</c:v>
                </c:pt>
                <c:pt idx="9">
                  <c:v>1.514098473415222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0911140082494788E-3</c:v>
                </c:pt>
                <c:pt idx="3">
                  <c:v>8.8930677153461739E-3</c:v>
                </c:pt>
                <c:pt idx="4">
                  <c:v>1.0190266006000218E-2</c:v>
                </c:pt>
                <c:pt idx="6">
                  <c:v>1.1235677688106961E-3</c:v>
                </c:pt>
                <c:pt idx="7">
                  <c:v>1.09992471075890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4554123063390602E-3</c:v>
                </c:pt>
                <c:pt idx="7">
                  <c:v>4.4743886544813226E-3</c:v>
                </c:pt>
                <c:pt idx="8">
                  <c:v>8.3016783242774849E-3</c:v>
                </c:pt>
                <c:pt idx="9">
                  <c:v>8.1897963897297203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2620463993700407E-3</c:v>
                </c:pt>
                <c:pt idx="7">
                  <c:v>6.7875633200204372E-3</c:v>
                </c:pt>
                <c:pt idx="8">
                  <c:v>8.9228132955084145E-3</c:v>
                </c:pt>
                <c:pt idx="9">
                  <c:v>1.143218370220824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09235126133814E-3</c:v>
                </c:pt>
                <c:pt idx="5">
                  <c:v>2.8101193110492283E-3</c:v>
                </c:pt>
                <c:pt idx="7">
                  <c:v>3.5370553626848478E-3</c:v>
                </c:pt>
                <c:pt idx="8">
                  <c:v>3.752219662659457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4272909257625044E-3</c:v>
                </c:pt>
                <c:pt idx="6">
                  <c:v>7.271674354298761E-4</c:v>
                </c:pt>
                <c:pt idx="7">
                  <c:v>3.7977808617816865E-3</c:v>
                </c:pt>
                <c:pt idx="8">
                  <c:v>1.4202711947701584E-2</c:v>
                </c:pt>
                <c:pt idx="9">
                  <c:v>1.409340837881320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810515881939580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1243914818391409</c:v>
                </c:pt>
                <c:pt idx="6">
                  <c:v>5.194465693769866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68140222272406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68891632263417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4267255754208456E-2</c:v>
                </c:pt>
                <c:pt idx="3">
                  <c:v>6.8273370720791371E-3</c:v>
                </c:pt>
                <c:pt idx="4">
                  <c:v>9.9118530279817454E-3</c:v>
                </c:pt>
                <c:pt idx="5">
                  <c:v>2.6441787850900917E-2</c:v>
                </c:pt>
                <c:pt idx="7">
                  <c:v>6.4171820023489701E-2</c:v>
                </c:pt>
                <c:pt idx="8">
                  <c:v>6.276456862498126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2569839800391868E-3</c:v>
                </c:pt>
                <c:pt idx="4">
                  <c:v>3.4853687501442609E-3</c:v>
                </c:pt>
                <c:pt idx="5">
                  <c:v>3.6785679830550586E-3</c:v>
                </c:pt>
                <c:pt idx="6">
                  <c:v>2.0019274203202445E-3</c:v>
                </c:pt>
                <c:pt idx="7">
                  <c:v>6.2492664394801743E-3</c:v>
                </c:pt>
                <c:pt idx="8">
                  <c:v>1.583309035379657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3066195746928655E-3</c:v>
                </c:pt>
                <c:pt idx="8">
                  <c:v>4.78608412707870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544047456652003E-3</c:v>
                </c:pt>
                <c:pt idx="7">
                  <c:v>2.6853604363414013E-3</c:v>
                </c:pt>
                <c:pt idx="8">
                  <c:v>3.1063303339930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6.401824998104595E-4</c:v>
                </c:pt>
                <c:pt idx="8">
                  <c:v>6.101435856212228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2901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2805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649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7597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062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981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29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2187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6770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60795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3027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908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21851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4862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4668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0199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844645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9241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6582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9053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74509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9279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3686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5005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5913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1396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9546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2573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22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49342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5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12630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14058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6808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5427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9045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95446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02378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42696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9431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79539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5161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415992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299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59875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805025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5847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21445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30415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63995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10395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204974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60363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462734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7328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48160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459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573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722701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5243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324131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5439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6302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991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062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0537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525</Words>
  <Application>Microsoft Office PowerPoint</Application>
  <PresentationFormat>On-screen Show (16:9)</PresentationFormat>
  <Paragraphs>1705</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